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706" r:id="rId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7CA7E1-F2EA-4999-9FEE-2E3DBED6E2D4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CF4DE-9271-4746-93C1-C9B8F9FBF6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808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9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39268" name="Нижний колонтитул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39269" name="Верхний колонтитул 5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3008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6D58C5-E682-41CF-A602-119A65323F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9A639B-A806-424A-9903-209772634E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D7C939-F505-4B3A-8687-B7FA178F17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617B2F-DB3E-4BD5-B2B9-0CDAB048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8FC2B-4D36-4E56-BA1C-71D1E367B8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0388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1706E7-107F-4BCF-9205-70A6B0077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4398B2-5347-4AC2-B009-532D31EBDC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704ED9-3F85-4779-A7F0-AC98833EB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BBF3A4-A233-4B50-B1C8-C7AABF0E6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4D0DFC-6323-4FDB-A114-102C6C6F8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10078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2CCA33-71B4-4F73-9665-500ED58A07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4F78A0-8A99-47BF-91E0-EE0BAD5CE1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3F530C-F231-47E5-9625-B2DECC76D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AFBE8D-B4EB-40CE-8B1B-A6BBEE198A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E5F778-58D3-46AF-8200-8AE0C464D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79669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40771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9600" y="1463041"/>
            <a:ext cx="5388864" cy="4612655"/>
          </a:xfrm>
          <a:prstGeom prst="rect">
            <a:avLst/>
          </a:prstGeom>
        </p:spPr>
        <p:txBody>
          <a:bodyPr/>
          <a:lstStyle>
            <a:lvl1pPr marL="243834" indent="-243834">
              <a:lnSpc>
                <a:spcPct val="100000"/>
              </a:lnSpc>
              <a:buFont typeface="Arial" panose="020B0604020202020204" pitchFamily="34" charset="0"/>
              <a:buChar char="•"/>
              <a:defRPr sz="2133">
                <a:solidFill>
                  <a:srgbClr val="393E42"/>
                </a:solidFill>
              </a:defRPr>
            </a:lvl1pPr>
            <a:lvl2pPr marL="487668" indent="-243834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867"/>
            </a:lvl2pPr>
            <a:lvl3pPr marL="731502" indent="-243834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975336" indent="-182875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 dirty="0"/>
              <a:t>Slide content should be simple</a:t>
            </a:r>
          </a:p>
          <a:p>
            <a:pPr lvl="1"/>
            <a:r>
              <a:rPr lang="en-US" dirty="0"/>
              <a:t>Bullet level 2</a:t>
            </a:r>
          </a:p>
          <a:p>
            <a:pPr lvl="2"/>
            <a:r>
              <a:rPr lang="en-US" dirty="0"/>
              <a:t>Bullet level 3</a:t>
            </a:r>
          </a:p>
          <a:p>
            <a:pPr lvl="3"/>
            <a:r>
              <a:rPr lang="en-US" dirty="0"/>
              <a:t>Bullet level 4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193536" y="1463041"/>
            <a:ext cx="5388864" cy="4612655"/>
          </a:xfrm>
          <a:prstGeom prst="rect">
            <a:avLst/>
          </a:prstGeom>
        </p:spPr>
        <p:txBody>
          <a:bodyPr/>
          <a:lstStyle>
            <a:lvl1pPr marL="243834" indent="-243834">
              <a:lnSpc>
                <a:spcPct val="110000"/>
              </a:lnSpc>
              <a:buFont typeface="Arial" panose="020B0604020202020204" pitchFamily="34" charset="0"/>
              <a:buChar char="•"/>
              <a:defRPr sz="2133">
                <a:solidFill>
                  <a:srgbClr val="393E42"/>
                </a:solidFill>
              </a:defRPr>
            </a:lvl1pPr>
            <a:lvl2pPr marL="487668" indent="-243834">
              <a:lnSpc>
                <a:spcPct val="110000"/>
              </a:lnSpc>
              <a:buFont typeface="Courier New" panose="02070309020205020404" pitchFamily="49" charset="0"/>
              <a:buChar char="o"/>
              <a:defRPr sz="1867"/>
            </a:lvl2pPr>
            <a:lvl3pPr marL="731502" indent="-243834">
              <a:lnSpc>
                <a:spcPct val="110000"/>
              </a:lnSpc>
              <a:buFont typeface="Wingdings" panose="05000000000000000000" pitchFamily="2" charset="2"/>
              <a:buChar char="§"/>
              <a:defRPr sz="1600"/>
            </a:lvl3pPr>
            <a:lvl4pPr marL="975336" indent="-182875">
              <a:lnSpc>
                <a:spcPct val="110000"/>
              </a:lnSpc>
              <a:buFont typeface="Arial" panose="020B0604020202020204" pitchFamily="34" charset="0"/>
              <a:buChar char="-"/>
              <a:defRPr sz="1467"/>
            </a:lvl4pPr>
            <a:lvl5pPr marL="3047924" indent="-609585">
              <a:lnSpc>
                <a:spcPct val="110000"/>
              </a:lnSpc>
              <a:buFont typeface="Arial" panose="020B0604020202020204" pitchFamily="34" charset="0"/>
              <a:buChar char="•"/>
              <a:defRPr sz="3200"/>
            </a:lvl5pPr>
            <a:lvl6pPr marL="2438339" indent="-487668">
              <a:lnSpc>
                <a:spcPct val="140000"/>
              </a:lnSpc>
              <a:defRPr sz="3733"/>
            </a:lvl6pPr>
            <a:lvl7pPr marL="2804090" indent="-487668">
              <a:lnSpc>
                <a:spcPct val="140000"/>
              </a:lnSpc>
              <a:buFont typeface="Arial" panose="020B0604020202020204" pitchFamily="34" charset="0"/>
              <a:buChar char="•"/>
              <a:defRPr sz="3733"/>
            </a:lvl7pPr>
            <a:lvl8pPr marL="3169841">
              <a:defRPr sz="3733"/>
            </a:lvl8pPr>
            <a:lvl9pPr marL="3535592">
              <a:defRPr sz="3733"/>
            </a:lvl9pPr>
          </a:lstStyle>
          <a:p>
            <a:pPr lvl="0"/>
            <a:r>
              <a:rPr lang="en-US" dirty="0"/>
              <a:t>Keep text size consistent</a:t>
            </a:r>
          </a:p>
          <a:p>
            <a:pPr lvl="1"/>
            <a:r>
              <a:rPr lang="en-US" dirty="0"/>
              <a:t>Bullet level 2</a:t>
            </a:r>
          </a:p>
          <a:p>
            <a:pPr lvl="2"/>
            <a:r>
              <a:rPr lang="en-US" dirty="0"/>
              <a:t>Bullet level 3</a:t>
            </a:r>
          </a:p>
          <a:p>
            <a:pPr lvl="3"/>
            <a:r>
              <a:rPr lang="en-US" dirty="0"/>
              <a:t>Bullet level 4</a:t>
            </a:r>
          </a:p>
        </p:txBody>
      </p:sp>
    </p:spTree>
    <p:extLst>
      <p:ext uri="{BB962C8B-B14F-4D97-AF65-F5344CB8AC3E}">
        <p14:creationId xmlns:p14="http://schemas.microsoft.com/office/powerpoint/2010/main" val="3589892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2800" y="784800"/>
            <a:ext cx="11222401" cy="511200"/>
          </a:xfrm>
        </p:spPr>
        <p:txBody>
          <a:bodyPr/>
          <a:lstStyle>
            <a:lvl1pPr marL="0" indent="0">
              <a:buNone/>
              <a:defRPr sz="1574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800" y="1760400"/>
            <a:ext cx="8942400" cy="4424400"/>
          </a:xfrm>
        </p:spPr>
        <p:txBody>
          <a:bodyPr/>
          <a:lstStyle>
            <a:lvl1pPr marL="0" indent="0">
              <a:buNone/>
              <a:defRPr sz="135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F91B630B-20D6-4393-8E58-D5851CA7F134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E1838-8B2A-48D5-B9C4-AB33CFC1EAB3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5724DA52-594E-4E2E-9C2E-598D7DCA969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FEC902-3780-47DC-B921-305F108FFA76}"/>
              </a:ext>
            </a:extLst>
          </p:cNvPr>
          <p:cNvGrpSpPr/>
          <p:nvPr userDrawn="1"/>
        </p:nvGrpSpPr>
        <p:grpSpPr>
          <a:xfrm>
            <a:off x="-5" y="6735165"/>
            <a:ext cx="12192004" cy="136376"/>
            <a:chOff x="-4" y="5045891"/>
            <a:chExt cx="9144003" cy="10237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C1C7933-7850-4AAA-A6A7-26810EE58FD0}"/>
                </a:ext>
              </a:extLst>
            </p:cNvPr>
            <p:cNvSpPr/>
            <p:nvPr userDrawn="1"/>
          </p:nvSpPr>
          <p:spPr>
            <a:xfrm rot="10800000" flipH="1" flipV="1">
              <a:off x="7270751" y="5045891"/>
              <a:ext cx="1873248" cy="102377"/>
            </a:xfrm>
            <a:prstGeom prst="rect">
              <a:avLst/>
            </a:prstGeom>
            <a:solidFill>
              <a:srgbClr val="EF3D33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160EAF6-CA15-4EA2-A849-27AAC7A84D5B}"/>
                </a:ext>
              </a:extLst>
            </p:cNvPr>
            <p:cNvSpPr/>
            <p:nvPr userDrawn="1"/>
          </p:nvSpPr>
          <p:spPr>
            <a:xfrm rot="10800000" flipH="1" flipV="1">
              <a:off x="5461000" y="5045891"/>
              <a:ext cx="1846387" cy="102377"/>
            </a:xfrm>
            <a:prstGeom prst="rect">
              <a:avLst/>
            </a:prstGeom>
            <a:solidFill>
              <a:srgbClr val="FCDC53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14273F8-6A62-4B5D-AD8B-5C91B850C888}"/>
                </a:ext>
              </a:extLst>
            </p:cNvPr>
            <p:cNvSpPr/>
            <p:nvPr userDrawn="1"/>
          </p:nvSpPr>
          <p:spPr>
            <a:xfrm rot="10800000" flipH="1" flipV="1">
              <a:off x="3647924" y="5045891"/>
              <a:ext cx="1826115" cy="102377"/>
            </a:xfrm>
            <a:prstGeom prst="rect">
              <a:avLst/>
            </a:prstGeom>
            <a:solidFill>
              <a:srgbClr val="A5D9D0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A493A37-DA57-467F-B5E8-3F669E1EBF40}"/>
                </a:ext>
              </a:extLst>
            </p:cNvPr>
            <p:cNvSpPr/>
            <p:nvPr userDrawn="1"/>
          </p:nvSpPr>
          <p:spPr>
            <a:xfrm rot="10800000" flipH="1" flipV="1">
              <a:off x="1827926" y="5045891"/>
              <a:ext cx="1826115" cy="102377"/>
            </a:xfrm>
            <a:prstGeom prst="rect">
              <a:avLst/>
            </a:prstGeom>
            <a:solidFill>
              <a:srgbClr val="028CA6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E347B6F-FEB2-4CF8-953D-A5FCC58A26AB}"/>
                </a:ext>
              </a:extLst>
            </p:cNvPr>
            <p:cNvSpPr/>
            <p:nvPr userDrawn="1"/>
          </p:nvSpPr>
          <p:spPr>
            <a:xfrm rot="10800000" flipH="1" flipV="1">
              <a:off x="-4" y="5045891"/>
              <a:ext cx="1833839" cy="102377"/>
            </a:xfrm>
            <a:prstGeom prst="rect">
              <a:avLst/>
            </a:prstGeom>
            <a:solidFill>
              <a:srgbClr val="223867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9A8141D-FD48-49BE-9239-DA9558E9DEC2}"/>
              </a:ext>
            </a:extLst>
          </p:cNvPr>
          <p:cNvSpPr/>
          <p:nvPr userDrawn="1"/>
        </p:nvSpPr>
        <p:spPr>
          <a:xfrm>
            <a:off x="11160224" y="76245"/>
            <a:ext cx="103177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ase"/>
            <a:r>
              <a:rPr lang="en-US" sz="900" b="0" i="0" dirty="0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CP-227557</a:t>
            </a:r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19C6CB12-05D0-4554-B2F9-D427603795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1819" y="6251950"/>
            <a:ext cx="1252756" cy="31858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B4AFCA0-0D31-4D17-B8C0-251E02FC8514}"/>
              </a:ext>
            </a:extLst>
          </p:cNvPr>
          <p:cNvSpPr/>
          <p:nvPr userDrawn="1"/>
        </p:nvSpPr>
        <p:spPr>
          <a:xfrm>
            <a:off x="9282792" y="-40362"/>
            <a:ext cx="313805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i="1" dirty="0">
                <a:solidFill>
                  <a:srgbClr val="555555"/>
                </a:solidFill>
                <a:latin typeface="Georgia" panose="02040502050405020303" pitchFamily="18" charset="0"/>
              </a:rPr>
              <a:t>Информация для медицинских и</a:t>
            </a:r>
            <a:r>
              <a:rPr lang="en-US" sz="700" i="1" dirty="0">
                <a:solidFill>
                  <a:srgbClr val="555555"/>
                </a:solidFill>
                <a:latin typeface="Georgia" panose="02040502050405020303" pitchFamily="18" charset="0"/>
              </a:rPr>
              <a:t> </a:t>
            </a:r>
            <a:r>
              <a:rPr lang="ru-RU" sz="700" i="1" dirty="0">
                <a:solidFill>
                  <a:srgbClr val="555555"/>
                </a:solidFill>
                <a:latin typeface="Georgia" panose="02040502050405020303" pitchFamily="18" charset="0"/>
              </a:rPr>
              <a:t>фармацевтических работников 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15091999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6000" y="1854926"/>
            <a:ext cx="11340000" cy="41164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533828-ABF0-494A-9EAA-58BD69BA9D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00" y="6588000"/>
            <a:ext cx="11700000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323B96-8251-424A-A9C7-90819C154E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450" y="1180573"/>
            <a:ext cx="10800000" cy="358775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A534B-2736-4087-A450-15913BC16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36384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533828-ABF0-494A-9EAA-58BD69BA9D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00" y="6588000"/>
            <a:ext cx="11700000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35FDDF2-E334-4FB1-AB5F-19F74743A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341275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745E3A-48E1-4AB9-AE66-2AE8248BB7DE}" type="datetime1">
              <a:rPr lang="en-US" smtClean="0"/>
              <a:t>8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eferences are placed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AE03F5-9C6C-426C-874A-B474C8F0AAE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728139" y="1039021"/>
            <a:ext cx="10410916" cy="1631216"/>
          </a:xfrm>
        </p:spPr>
        <p:txBody>
          <a:bodyPr/>
          <a:lstStyle>
            <a:lvl1pPr marL="170256" indent="-170256">
              <a:lnSpc>
                <a:spcPct val="100000"/>
              </a:lnSpc>
              <a:spcBef>
                <a:spcPts val="451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</a:defRPr>
            </a:lvl1pPr>
            <a:lvl2pPr marL="388134" indent="-133347">
              <a:lnSpc>
                <a:spcPct val="100000"/>
              </a:lnSpc>
              <a:spcBef>
                <a:spcPts val="451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</a:defRPr>
            </a:lvl2pPr>
            <a:lvl3pPr marL="603632" indent="-89295">
              <a:lnSpc>
                <a:spcPct val="100000"/>
              </a:lnSpc>
              <a:spcBef>
                <a:spcPts val="451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</a:defRPr>
            </a:lvl3pPr>
            <a:lvl4pPr marL="857229" indent="-82153">
              <a:lnSpc>
                <a:spcPct val="100000"/>
              </a:lnSpc>
              <a:spcBef>
                <a:spcPts val="451"/>
              </a:spcBef>
              <a:spcAft>
                <a:spcPts val="0"/>
              </a:spcAft>
              <a:buFont typeface="Arial" panose="020B0604020202020204" pitchFamily="34" charset="0"/>
              <a:buChar char="•"/>
              <a:defRPr>
                <a:solidFill>
                  <a:schemeClr val="accent1"/>
                </a:solidFill>
              </a:defRPr>
            </a:lvl4pPr>
            <a:lvl5pPr>
              <a:spcBef>
                <a:spcPts val="451"/>
              </a:spcBef>
              <a:spcAft>
                <a:spcPts val="451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28139" y="292722"/>
            <a:ext cx="10410916" cy="3693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7665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20975"/>
            <a:ext cx="10972800" cy="2769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2800" y="784800"/>
            <a:ext cx="11222400" cy="430887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800" y="1760400"/>
            <a:ext cx="8942400" cy="369332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FC91698F-C229-418D-94E0-FE7D2F01637D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4C89DE-E38A-454D-A50B-3C3959C33FD2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3832CECD-9A7D-4B16-9CC1-FD30EFFF75A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609600" y="6378575"/>
            <a:ext cx="2803525" cy="27699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FB8B6E8F-99B4-4264-8E6C-AAC7789DE6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144963" y="6378575"/>
            <a:ext cx="3902075" cy="27699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108670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7491" y="274639"/>
            <a:ext cx="10640312" cy="764120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035322" y="2337758"/>
            <a:ext cx="10553700" cy="3372929"/>
          </a:xfrm>
        </p:spPr>
        <p:txBody>
          <a:bodyPr lIns="0" tIns="0" rIns="0" bIns="0">
            <a:noAutofit/>
          </a:bodyPr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09" y="5988050"/>
            <a:ext cx="7930727" cy="460375"/>
          </a:xfrm>
        </p:spPr>
        <p:txBody>
          <a:bodyPr lIns="0" tIns="0" rIns="0" bIns="0" anchor="b" anchorCtr="0">
            <a:noAutofit/>
          </a:bodyPr>
          <a:lstStyle>
            <a:lvl1pPr marL="4763" indent="-4763">
              <a:lnSpc>
                <a:spcPts val="1000"/>
              </a:lnSpc>
              <a:buNone/>
              <a:defRPr sz="800">
                <a:solidFill>
                  <a:srgbClr val="7B828A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763" indent="-4763">
              <a:lnSpc>
                <a:spcPts val="1000"/>
              </a:lnSpc>
              <a:buNone/>
              <a:defRPr sz="800"/>
            </a:lvl2pPr>
            <a:lvl3pPr marL="4763" indent="-4763">
              <a:lnSpc>
                <a:spcPts val="1000"/>
              </a:lnSpc>
              <a:buNone/>
              <a:defRPr sz="800"/>
            </a:lvl3pPr>
            <a:lvl4pPr marL="4763" indent="-4763">
              <a:lnSpc>
                <a:spcPts val="1000"/>
              </a:lnSpc>
              <a:buNone/>
              <a:defRPr sz="800"/>
            </a:lvl4pPr>
            <a:lvl5pPr marL="4763" indent="-4763">
              <a:lnSpc>
                <a:spcPts val="1000"/>
              </a:lnSpc>
              <a:buNone/>
              <a:defRPr sz="800"/>
            </a:lvl5pPr>
          </a:lstStyle>
          <a:p>
            <a:pPr lvl="0"/>
            <a:r>
              <a:rPr lang="en-US" dirty="0"/>
              <a:t>Footnote copy her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027739" y="1321328"/>
            <a:ext cx="10547228" cy="252272"/>
          </a:xfrm>
        </p:spPr>
        <p:txBody>
          <a:bodyPr lIns="0" tIns="0" rIns="0" bIns="0">
            <a:noAutofit/>
          </a:bodyPr>
          <a:lstStyle>
            <a:lvl1pPr>
              <a:buNone/>
              <a:defRPr b="1">
                <a:solidFill>
                  <a:schemeClr val="accent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Subhead, Trebuchet MS Bold, 12 pt</a:t>
            </a:r>
          </a:p>
        </p:txBody>
      </p:sp>
      <p:sp>
        <p:nvSpPr>
          <p:cNvPr id="7" name="Content Placeholder 10"/>
          <p:cNvSpPr>
            <a:spLocks noGrp="1"/>
          </p:cNvSpPr>
          <p:nvPr>
            <p:ph sz="quarter" idx="15"/>
          </p:nvPr>
        </p:nvSpPr>
        <p:spPr>
          <a:xfrm>
            <a:off x="1027792" y="1505365"/>
            <a:ext cx="10560099" cy="727497"/>
          </a:xfrm>
        </p:spPr>
        <p:txBody>
          <a:bodyPr/>
          <a:lstStyle>
            <a:lvl1pPr marL="0" indent="0">
              <a:buNone/>
              <a:defRPr>
                <a:solidFill>
                  <a:srgbClr val="7B828A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0" indent="0">
              <a:buNone/>
              <a:defRPr>
                <a:solidFill>
                  <a:srgbClr val="7B828A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0" indent="0">
              <a:buNone/>
              <a:defRPr>
                <a:solidFill>
                  <a:srgbClr val="7B828A"/>
                </a:solidFill>
              </a:defRPr>
            </a:lvl3pPr>
            <a:lvl4pPr marL="0" indent="0">
              <a:buNone/>
              <a:defRPr>
                <a:solidFill>
                  <a:srgbClr val="7B828A"/>
                </a:solidFill>
              </a:defRPr>
            </a:lvl4pPr>
            <a:lvl5pPr marL="0" indent="0">
              <a:buNone/>
              <a:defRPr>
                <a:solidFill>
                  <a:srgbClr val="7B828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21665" y="6548372"/>
            <a:ext cx="2844800" cy="3096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F1715DB3-EB23-A248-A76E-496180AB17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425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6000" y="1854926"/>
            <a:ext cx="11340000" cy="41164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533828-ABF0-494A-9EAA-58BD69BA9D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00" y="6588000"/>
            <a:ext cx="11700000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323B96-8251-424A-A9C7-90819C154E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450" y="1180573"/>
            <a:ext cx="10800000" cy="358775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A534B-2736-4087-A450-15913BC16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44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8B387B-5CB9-4DD2-B11B-E535E530D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768030-B088-4F3B-9E6F-EDFC6A5961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F34F6C-D8FC-415D-947A-5903170BB8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4383B1-4EC4-4E17-A47C-70633A247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A4725-D1BC-47FD-A6EA-E967F574B8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54361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533828-ABF0-494A-9EAA-58BD69BA9D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00" y="6588000"/>
            <a:ext cx="11700000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6323B96-8251-424A-A9C7-90819C154E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5450" y="1180573"/>
            <a:ext cx="10800000" cy="358775"/>
          </a:xfr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70A534B-2736-4087-A450-15913BC16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7895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533828-ABF0-494A-9EAA-58BD69BA9D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00" y="6588000"/>
            <a:ext cx="11700000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35FDDF2-E334-4FB1-AB5F-19F74743A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51B71A2-AB99-43EE-A209-E268B68817A8}"/>
              </a:ext>
            </a:extLst>
          </p:cNvPr>
          <p:cNvGrpSpPr/>
          <p:nvPr userDrawn="1"/>
        </p:nvGrpSpPr>
        <p:grpSpPr>
          <a:xfrm>
            <a:off x="-5" y="6735165"/>
            <a:ext cx="12192004" cy="136376"/>
            <a:chOff x="-4" y="5045891"/>
            <a:chExt cx="9144003" cy="102377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5496D0C-BB5B-400F-84B9-B265EF266C96}"/>
                </a:ext>
              </a:extLst>
            </p:cNvPr>
            <p:cNvSpPr/>
            <p:nvPr userDrawn="1"/>
          </p:nvSpPr>
          <p:spPr>
            <a:xfrm rot="10800000" flipH="1" flipV="1">
              <a:off x="7270751" y="5045891"/>
              <a:ext cx="1873248" cy="102377"/>
            </a:xfrm>
            <a:prstGeom prst="rect">
              <a:avLst/>
            </a:prstGeom>
            <a:solidFill>
              <a:srgbClr val="EF3D33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25CC10-A3B6-4203-A4F6-788B3C159371}"/>
                </a:ext>
              </a:extLst>
            </p:cNvPr>
            <p:cNvSpPr/>
            <p:nvPr userDrawn="1"/>
          </p:nvSpPr>
          <p:spPr>
            <a:xfrm rot="10800000" flipH="1" flipV="1">
              <a:off x="5461000" y="5045891"/>
              <a:ext cx="1846387" cy="102377"/>
            </a:xfrm>
            <a:prstGeom prst="rect">
              <a:avLst/>
            </a:prstGeom>
            <a:solidFill>
              <a:srgbClr val="FCDC53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927553F-4FB9-4249-8E6A-960C0F66374C}"/>
                </a:ext>
              </a:extLst>
            </p:cNvPr>
            <p:cNvSpPr/>
            <p:nvPr userDrawn="1"/>
          </p:nvSpPr>
          <p:spPr>
            <a:xfrm rot="10800000" flipH="1" flipV="1">
              <a:off x="3647924" y="5045891"/>
              <a:ext cx="1826115" cy="102377"/>
            </a:xfrm>
            <a:prstGeom prst="rect">
              <a:avLst/>
            </a:prstGeom>
            <a:solidFill>
              <a:srgbClr val="A5D9D0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C6C59BB-E308-4C79-B492-DA944333E40C}"/>
                </a:ext>
              </a:extLst>
            </p:cNvPr>
            <p:cNvSpPr/>
            <p:nvPr userDrawn="1"/>
          </p:nvSpPr>
          <p:spPr>
            <a:xfrm rot="10800000" flipH="1" flipV="1">
              <a:off x="1827926" y="5045891"/>
              <a:ext cx="1826115" cy="102377"/>
            </a:xfrm>
            <a:prstGeom prst="rect">
              <a:avLst/>
            </a:prstGeom>
            <a:solidFill>
              <a:srgbClr val="028CA6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5250EA5-AA75-483B-A8C3-6769924CC099}"/>
                </a:ext>
              </a:extLst>
            </p:cNvPr>
            <p:cNvSpPr/>
            <p:nvPr userDrawn="1"/>
          </p:nvSpPr>
          <p:spPr>
            <a:xfrm rot="10800000" flipH="1" flipV="1">
              <a:off x="-4" y="5045891"/>
              <a:ext cx="1833839" cy="102377"/>
            </a:xfrm>
            <a:prstGeom prst="rect">
              <a:avLst/>
            </a:prstGeom>
            <a:solidFill>
              <a:srgbClr val="223867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4F365FA-755C-4C6B-B966-7C4459C52722}"/>
              </a:ext>
            </a:extLst>
          </p:cNvPr>
          <p:cNvSpPr/>
          <p:nvPr userDrawn="1"/>
        </p:nvSpPr>
        <p:spPr>
          <a:xfrm>
            <a:off x="11160224" y="76245"/>
            <a:ext cx="103177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ase"/>
            <a:r>
              <a:rPr lang="en-US" sz="900" b="0" i="0" dirty="0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CP-227557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7F193690-989C-4C5B-90EE-198AFF1531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1819" y="6251950"/>
            <a:ext cx="1252756" cy="31858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6D52CAA-050A-44EA-91D3-CF9E679C404F}"/>
              </a:ext>
            </a:extLst>
          </p:cNvPr>
          <p:cNvSpPr/>
          <p:nvPr userDrawn="1"/>
        </p:nvSpPr>
        <p:spPr>
          <a:xfrm>
            <a:off x="9282792" y="-40362"/>
            <a:ext cx="313805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i="1" dirty="0">
                <a:solidFill>
                  <a:srgbClr val="555555"/>
                </a:solidFill>
                <a:latin typeface="Georgia" panose="02040502050405020303" pitchFamily="18" charset="0"/>
              </a:rPr>
              <a:t>Информация для медицинских и</a:t>
            </a:r>
            <a:r>
              <a:rPr lang="en-US" sz="700" i="1" dirty="0">
                <a:solidFill>
                  <a:srgbClr val="555555"/>
                </a:solidFill>
                <a:latin typeface="Georgia" panose="02040502050405020303" pitchFamily="18" charset="0"/>
              </a:rPr>
              <a:t> </a:t>
            </a:r>
            <a:r>
              <a:rPr lang="ru-RU" sz="700" i="1" dirty="0">
                <a:solidFill>
                  <a:srgbClr val="555555"/>
                </a:solidFill>
                <a:latin typeface="Georgia" panose="02040502050405020303" pitchFamily="18" charset="0"/>
              </a:rPr>
              <a:t>фармацевтических работников 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3652024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C550F-450A-4731-90A9-5419A5BF3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BC25F2-17CB-4801-9A4E-E3511ED5C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2D4491-EF15-4370-B032-35EA74B853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7D926-5AF3-4AE1-A4D3-1F448329B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881BA9-ABCA-430C-8AA8-C908294921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9678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521BD8-7B78-4D91-A4E9-07BDEA904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0628DD-DCC0-49E9-9235-EAF3BCA2E0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1832CB-8C7C-4007-B3A1-E83DC9F62B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FD35B8-86BC-490D-B34F-3B842F101A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8E9CF1-B0D8-4B01-B177-FB2B3C128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00F66F-FD17-49F3-A249-DD93FC013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85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8333E-A788-4993-B84C-FCE6F4CDA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81520B-32F9-4E2A-8558-EAEBCE3D22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F75B43-BA27-4A42-9658-04B71E0BC5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B32B3E-836C-4BD7-8A68-6F6B12E613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32C5196-D1AF-482F-814A-3C08A49E93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BC55D47-E8C5-4F8C-8D78-B440A5754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30D37AA-AC31-4FCB-B84A-1E5F5B1A4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AF5EB0-C255-4A9D-B83A-D478F2AAE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4633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0334E-2F97-45C0-9F9B-3CC321C36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629316-0352-47EF-BFE0-2691F3F6D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5E878D-6C55-43F9-8D67-33817CCB3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7043EF-2B37-445F-BB2A-270982BC6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52190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F435B41-06FE-4A44-BDBC-83889ED79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774218-9CA5-4D0A-A61B-0CC7BB3CB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91B7E1-57A8-4254-A323-0743EE2C9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33011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4B55F-C302-4AF6-9FE7-C5C760835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13BEB4-0984-44FC-96A9-D7DA1DBA6A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2A904C-281F-49FF-B112-5D4B139DEB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E47F84-7AF6-4296-AB57-B29EE6030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987FCA-1E23-4A57-AF2B-817206B3F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5A4174-E777-49CD-B590-983367AC9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5143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70EEF1-1946-4274-9199-B656689FC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EAA0898-9B5A-414A-A8EC-3DF59EDD99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37FBE9-FEDA-4A5D-A205-284E23B09B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236832-E2FF-4E4F-B748-4CC228FEB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028070-B819-4C6D-A541-523E954EB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C8FAF7-49E6-4D8C-8472-92F7E3999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3638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173E5C-F00A-4301-8014-8F5AB6D3F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400" y="180253"/>
            <a:ext cx="10515600" cy="750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332EEC-3411-4032-9DAB-6F633322FD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DB47B7-84A1-47BB-8308-A2A863B4F6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B1F3ED-29C9-4765-9D70-B4249DD87987}" type="datetimeFigureOut">
              <a:rPr lang="ru-RU" smtClean="0"/>
              <a:t>22.08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D36357-BEA2-4CB1-9EF1-331D225D97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928012-E1C1-47C9-B404-8638EF18F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CF3952-C747-4805-BB27-9A2D2627818D}" type="slidenum">
              <a:rPr lang="ru-RU" smtClean="0"/>
              <a:t>‹#›</a:t>
            </a:fld>
            <a:endParaRPr lang="ru-RU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EEC23CC-1644-4232-92B9-2B4A67277407}"/>
              </a:ext>
            </a:extLst>
          </p:cNvPr>
          <p:cNvGrpSpPr/>
          <p:nvPr userDrawn="1"/>
        </p:nvGrpSpPr>
        <p:grpSpPr>
          <a:xfrm>
            <a:off x="-5" y="6735165"/>
            <a:ext cx="12192004" cy="136376"/>
            <a:chOff x="-4" y="5045891"/>
            <a:chExt cx="9144003" cy="102377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9E323E2-F6EF-446E-8F04-CFF3AD3F166B}"/>
                </a:ext>
              </a:extLst>
            </p:cNvPr>
            <p:cNvSpPr/>
            <p:nvPr userDrawn="1"/>
          </p:nvSpPr>
          <p:spPr>
            <a:xfrm rot="10800000" flipH="1" flipV="1">
              <a:off x="7270751" y="5045891"/>
              <a:ext cx="1873248" cy="102377"/>
            </a:xfrm>
            <a:prstGeom prst="rect">
              <a:avLst/>
            </a:prstGeom>
            <a:solidFill>
              <a:srgbClr val="EF3D33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55013BF-F695-4500-9862-06C5247C062D}"/>
                </a:ext>
              </a:extLst>
            </p:cNvPr>
            <p:cNvSpPr/>
            <p:nvPr userDrawn="1"/>
          </p:nvSpPr>
          <p:spPr>
            <a:xfrm rot="10800000" flipH="1" flipV="1">
              <a:off x="5461000" y="5045891"/>
              <a:ext cx="1846387" cy="102377"/>
            </a:xfrm>
            <a:prstGeom prst="rect">
              <a:avLst/>
            </a:prstGeom>
            <a:solidFill>
              <a:srgbClr val="FCDC53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D4A8147-DC7E-4D28-897C-90FF0F115D11}"/>
                </a:ext>
              </a:extLst>
            </p:cNvPr>
            <p:cNvSpPr/>
            <p:nvPr userDrawn="1"/>
          </p:nvSpPr>
          <p:spPr>
            <a:xfrm rot="10800000" flipH="1" flipV="1">
              <a:off x="3647924" y="5045891"/>
              <a:ext cx="1826115" cy="102377"/>
            </a:xfrm>
            <a:prstGeom prst="rect">
              <a:avLst/>
            </a:prstGeom>
            <a:solidFill>
              <a:srgbClr val="A5D9D0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2CE4D3-B6F1-4C36-8B4B-CB7B3AFB8D18}"/>
                </a:ext>
              </a:extLst>
            </p:cNvPr>
            <p:cNvSpPr/>
            <p:nvPr userDrawn="1"/>
          </p:nvSpPr>
          <p:spPr>
            <a:xfrm rot="10800000" flipH="1" flipV="1">
              <a:off x="1827926" y="5045891"/>
              <a:ext cx="1826115" cy="102377"/>
            </a:xfrm>
            <a:prstGeom prst="rect">
              <a:avLst/>
            </a:prstGeom>
            <a:solidFill>
              <a:srgbClr val="028CA6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D4F1A54-C15F-4A8E-848C-4C33B981AB52}"/>
                </a:ext>
              </a:extLst>
            </p:cNvPr>
            <p:cNvSpPr/>
            <p:nvPr userDrawn="1"/>
          </p:nvSpPr>
          <p:spPr>
            <a:xfrm rot="10800000" flipH="1" flipV="1">
              <a:off x="-4" y="5045891"/>
              <a:ext cx="1833839" cy="102377"/>
            </a:xfrm>
            <a:prstGeom prst="rect">
              <a:avLst/>
            </a:prstGeom>
            <a:solidFill>
              <a:srgbClr val="223867"/>
            </a:solidFill>
            <a:ln w="25400" cap="flat" cmpd="sng" algn="ctr">
              <a:noFill/>
              <a:prstDash val="solid"/>
            </a:ln>
            <a:effectLst/>
          </p:spPr>
          <p:txBody>
            <a:bodyPr lIns="45720" rIns="45720" rtlCol="0" anchor="ctr" anchorCtr="0">
              <a:normAutofit fontScale="25000" lnSpcReduction="20000"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5A013D15-815E-4868-8FE4-6C52EB377DC1}"/>
              </a:ext>
            </a:extLst>
          </p:cNvPr>
          <p:cNvSpPr/>
          <p:nvPr userDrawn="1"/>
        </p:nvSpPr>
        <p:spPr>
          <a:xfrm>
            <a:off x="11160224" y="76245"/>
            <a:ext cx="103177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ase"/>
            <a:r>
              <a:rPr lang="en-US" sz="900" b="0" i="0" dirty="0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CP-219131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C236F43E-A02C-4F19-997D-E0C81368DD38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1819" y="6251950"/>
            <a:ext cx="1252756" cy="31858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097E238-8FA1-411D-BEC0-CCB01394F448}"/>
              </a:ext>
            </a:extLst>
          </p:cNvPr>
          <p:cNvSpPr/>
          <p:nvPr userDrawn="1"/>
        </p:nvSpPr>
        <p:spPr>
          <a:xfrm>
            <a:off x="9282792" y="-40362"/>
            <a:ext cx="313805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i="1" dirty="0">
                <a:solidFill>
                  <a:srgbClr val="555555"/>
                </a:solidFill>
                <a:latin typeface="Georgia" panose="02040502050405020303" pitchFamily="18" charset="0"/>
              </a:rPr>
              <a:t>Информация для медицинских и</a:t>
            </a:r>
            <a:r>
              <a:rPr lang="en-US" sz="700" i="1" dirty="0">
                <a:solidFill>
                  <a:srgbClr val="555555"/>
                </a:solidFill>
                <a:latin typeface="Georgia" panose="02040502050405020303" pitchFamily="18" charset="0"/>
              </a:rPr>
              <a:t> </a:t>
            </a:r>
            <a:r>
              <a:rPr lang="ru-RU" sz="700" i="1" dirty="0">
                <a:solidFill>
                  <a:srgbClr val="555555"/>
                </a:solidFill>
                <a:latin typeface="Georgia" panose="02040502050405020303" pitchFamily="18" charset="0"/>
              </a:rPr>
              <a:t>фармацевтических работников 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152244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2060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://www.janssenmedicalcloud.ru/" TargetMode="External"/><Relationship Id="rId4" Type="http://schemas.openxmlformats.org/officeDocument/2006/relationships/image" Target="../media/image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9" name="Text Box 9"/>
          <p:cNvSpPr txBox="1">
            <a:spLocks noChangeArrowheads="1"/>
          </p:cNvSpPr>
          <p:nvPr/>
        </p:nvSpPr>
        <p:spPr bwMode="auto">
          <a:xfrm>
            <a:off x="867833" y="608756"/>
            <a:ext cx="10456333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40" tIns="45720" rIns="91440" bIns="4572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СПАСИБО ЗА ВНИМАНИЕ!</a:t>
            </a:r>
          </a:p>
        </p:txBody>
      </p:sp>
      <p:pic>
        <p:nvPicPr>
          <p:cNvPr id="20482" name="Picture 2">
            <a:extLst>
              <a:ext uri="{FF2B5EF4-FFF2-40B4-BE49-F238E27FC236}">
                <a16:creationId xmlns:a16="http://schemas.microsoft.com/office/drawing/2014/main" id="{2BF39E0D-6548-4B6F-8039-BB0047F9E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387" y="1744106"/>
            <a:ext cx="2141676" cy="22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65C7B66-B6E4-487F-8F02-482D02B1EE46}"/>
              </a:ext>
            </a:extLst>
          </p:cNvPr>
          <p:cNvSpPr/>
          <p:nvPr/>
        </p:nvSpPr>
        <p:spPr>
          <a:xfrm>
            <a:off x="5541978" y="4119533"/>
            <a:ext cx="51884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Регистрируйтесь на Janssen Medical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loud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 —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19CDC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сайте для специалистов здравоохранения,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19CDC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на котором Вы сможете получить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19CDC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исчерпывающую информацию по СМ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D86488A4-A94F-4B53-9A1E-C74127DD7BD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195" t="4041" r="5891" b="5810"/>
          <a:stretch/>
        </p:blipFill>
        <p:spPr>
          <a:xfrm>
            <a:off x="1461528" y="1894839"/>
            <a:ext cx="3351772" cy="336296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CA62603-0136-4AA1-8BBD-38FF17C30A88}"/>
              </a:ext>
            </a:extLst>
          </p:cNvPr>
          <p:cNvSpPr/>
          <p:nvPr/>
        </p:nvSpPr>
        <p:spPr>
          <a:xfrm>
            <a:off x="1371925" y="5347069"/>
            <a:ext cx="36089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  <a:hlinkClick r:id="rId5"/>
              </a:rPr>
              <a:t>www.</a:t>
            </a: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  <a:hlinkClick r:id="rId5"/>
              </a:rPr>
              <a:t>JanssenMedicalClou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  <a:hlinkClick r:id="rId5"/>
              </a:rPr>
              <a:t>.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19CDC"/>
                </a:solidFill>
                <a:effectLst/>
                <a:uLnTx/>
                <a:uFillTx/>
                <a:latin typeface="roboto"/>
                <a:ea typeface="+mn-ea"/>
                <a:cs typeface="+mn-cs"/>
                <a:hlinkClick r:id="rId5"/>
              </a:rPr>
              <a:t>ru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19CDC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5155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</Words>
  <Application>Microsoft Office PowerPoint</Application>
  <PresentationFormat>Widescreen</PresentationFormat>
  <Paragraphs>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Courier New</vt:lpstr>
      <vt:lpstr>Georgia</vt:lpstr>
      <vt:lpstr>roboto</vt:lpstr>
      <vt:lpstr>Trebuchet MS</vt:lpstr>
      <vt:lpstr>Wingdings</vt:lpstr>
      <vt:lpstr>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yakova, Darya [JANRU]</dc:creator>
  <cp:lastModifiedBy>Zitta, Tatyana [JANRU]</cp:lastModifiedBy>
  <cp:revision>1</cp:revision>
  <dcterms:created xsi:type="dcterms:W3CDTF">2021-08-18T08:45:51Z</dcterms:created>
  <dcterms:modified xsi:type="dcterms:W3CDTF">2021-08-22T18:09:22Z</dcterms:modified>
</cp:coreProperties>
</file>